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8"/>
  </p:notesMasterIdLst>
  <p:handoutMasterIdLst>
    <p:handoutMasterId r:id="rId19"/>
  </p:handoutMasterIdLst>
  <p:sldIdLst>
    <p:sldId id="316" r:id="rId3"/>
    <p:sldId id="315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8" r:id="rId13"/>
    <p:sldId id="330" r:id="rId14"/>
    <p:sldId id="327" r:id="rId15"/>
    <p:sldId id="331" r:id="rId16"/>
    <p:sldId id="329" r:id="rId17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008000"/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66" autoAdjust="0"/>
    <p:restoredTop sz="78286" autoAdjust="0"/>
  </p:normalViewPr>
  <p:slideViewPr>
    <p:cSldViewPr>
      <p:cViewPr varScale="1">
        <p:scale>
          <a:sx n="85" d="100"/>
          <a:sy n="85" d="100"/>
        </p:scale>
        <p:origin x="210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8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12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09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86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237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0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429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39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83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948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718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393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23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41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MiniProject/ppt%20folder/Error%20Table.txt" TargetMode="External"/><Relationship Id="rId7" Type="http://schemas.openxmlformats.org/officeDocument/2006/relationships/hyperlink" Target="MiniProject/ppt%20folder/Book%20Master%20Table.tx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MiniProject/ppt%20folder/Author%20Master%20Table.txt" TargetMode="External"/><Relationship Id="rId5" Type="http://schemas.openxmlformats.org/officeDocument/2006/relationships/hyperlink" Target="MiniProject/ppt%20folder/Author%20Staging%20Table.txt" TargetMode="External"/><Relationship Id="rId4" Type="http://schemas.openxmlformats.org/officeDocument/2006/relationships/hyperlink" Target="MiniProject/ppt%20folder/Book%20Staging%20Table.txt" TargetMode="Externa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ok Management Syste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484784"/>
            <a:ext cx="4752528" cy="3960440"/>
          </a:xfrm>
        </p:spPr>
      </p:pic>
      <p:sp>
        <p:nvSpPr>
          <p:cNvPr id="4" name="TextBox 3"/>
          <p:cNvSpPr txBox="1"/>
          <p:nvPr/>
        </p:nvSpPr>
        <p:spPr>
          <a:xfrm>
            <a:off x="5102527" y="2132856"/>
            <a:ext cx="46750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 project using oracle applications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46890" y="6309320"/>
            <a:ext cx="1959110" cy="404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44" y="1098753"/>
            <a:ext cx="9906000" cy="47680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form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39415" y="3831225"/>
            <a:ext cx="9906000" cy="2097292"/>
          </a:xfrm>
        </p:spPr>
        <p:txBody>
          <a:bodyPr/>
          <a:lstStyle/>
          <a:p>
            <a:pPr lvl="4"/>
            <a:r>
              <a:rPr lang="en-US" dirty="0" smtClean="0">
                <a:solidFill>
                  <a:schemeClr val="bg1"/>
                </a:solidFill>
              </a:rPr>
              <a:t>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953752"/>
            <a:ext cx="1475441" cy="942982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368824" y="1988840"/>
            <a:ext cx="1584176" cy="5683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FORMS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928663" y="3771883"/>
            <a:ext cx="1533133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uthor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808984" y="3732534"/>
            <a:ext cx="1584176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Book masters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3" name="Up Arrow 52"/>
          <p:cNvSpPr/>
          <p:nvPr/>
        </p:nvSpPr>
        <p:spPr>
          <a:xfrm rot="12829150">
            <a:off x="2852415" y="2450565"/>
            <a:ext cx="283722" cy="1417359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Up Arrow 54"/>
          <p:cNvSpPr/>
          <p:nvPr/>
        </p:nvSpPr>
        <p:spPr>
          <a:xfrm rot="8787599">
            <a:off x="5177959" y="2463439"/>
            <a:ext cx="295273" cy="1333692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10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260648"/>
            <a:ext cx="9906000" cy="864096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Oracle application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6753"/>
            <a:ext cx="9906000" cy="381642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 regist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function for the for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function to the Custom Men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 Menu should be assigned to the Responsi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responsibility to the TEST USER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0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9906000" cy="43204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report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6456" y="184482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Navigator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1433523" y="254516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Data </a:t>
            </a:r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Model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720752" y="3429000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port Layout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304928" y="4221088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enerated Report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537176" y="235023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Output</a:t>
            </a:r>
            <a:r>
              <a:rPr lang="en-US" dirty="0" smtClean="0">
                <a:solidFill>
                  <a:schemeClr val="bg1"/>
                </a:solidFill>
              </a:rPr>
              <a:t> Fi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465168" y="465584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of the report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6537176" y="3549681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data found</a:t>
            </a:r>
            <a:endParaRPr lang="en-US" dirty="0"/>
          </a:p>
        </p:txBody>
      </p:sp>
      <p:cxnSp>
        <p:nvCxnSpPr>
          <p:cNvPr id="40" name="Elbow Connector 39"/>
          <p:cNvCxnSpPr/>
          <p:nvPr/>
        </p:nvCxnSpPr>
        <p:spPr>
          <a:xfrm flipV="1">
            <a:off x="5940152" y="2708920"/>
            <a:ext cx="469826" cy="1900984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/>
          <p:nvPr/>
        </p:nvCxnSpPr>
        <p:spPr>
          <a:xfrm>
            <a:off x="5940152" y="4609904"/>
            <a:ext cx="469826" cy="367009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6175065" y="3896793"/>
            <a:ext cx="234913" cy="0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Bent-Up Arrow 42"/>
          <p:cNvSpPr/>
          <p:nvPr/>
        </p:nvSpPr>
        <p:spPr>
          <a:xfrm rot="5400000">
            <a:off x="2102377" y="307050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Bent-Up Arrow 45"/>
          <p:cNvSpPr/>
          <p:nvPr/>
        </p:nvSpPr>
        <p:spPr>
          <a:xfrm rot="5400000">
            <a:off x="3678144" y="3934604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Bent-Up Arrow 46"/>
          <p:cNvSpPr/>
          <p:nvPr/>
        </p:nvSpPr>
        <p:spPr>
          <a:xfrm rot="5400000">
            <a:off x="774988" y="235042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Rectangle 3"/>
          <p:cNvSpPr/>
          <p:nvPr/>
        </p:nvSpPr>
        <p:spPr>
          <a:xfrm>
            <a:off x="7950318" y="6457396"/>
            <a:ext cx="194421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687599"/>
            <a:ext cx="1110703" cy="99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04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1484784"/>
            <a:ext cx="9906000" cy="332792"/>
          </a:xfrm>
        </p:spPr>
        <p:txBody>
          <a:bodyPr/>
          <a:lstStyle/>
          <a:p>
            <a:pPr algn="l"/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In this project we developed the system for Book Managemen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which includes SQL loader, reports and forms by using Oracle  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Applications.                     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905328" y="6381328"/>
            <a:ext cx="2000672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8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75592" y="476672"/>
            <a:ext cx="9906000" cy="1188000"/>
          </a:xfrm>
        </p:spPr>
        <p:txBody>
          <a:bodyPr/>
          <a:lstStyle/>
          <a:p>
            <a:r>
              <a:rPr lang="en-US" dirty="0" smtClean="0"/>
              <a:t>FUTURE SCO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204864"/>
            <a:ext cx="9906000" cy="3552825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-Filtration Based on book-type using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eck-Box or Radio Buttons</a:t>
            </a:r>
          </a:p>
          <a:p>
            <a:pPr marL="0" indent="0">
              <a:buNone/>
            </a:pPr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080792" y="3501008"/>
            <a:ext cx="2232248" cy="85132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M WITH RADIO BUTTON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0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dirty="0" smtClean="0">
                <a:solidFill>
                  <a:schemeClr val="tx2">
                    <a:lumMod val="75000"/>
                  </a:schemeClr>
                </a:solidFill>
                <a:latin typeface="Bauhaus 93" panose="04030905020B02020C02" pitchFamily="82" charset="0"/>
              </a:rPr>
              <a:t>THANK YOU</a:t>
            </a:r>
            <a:r>
              <a:rPr lang="en-US" sz="4800" dirty="0" smtClean="0">
                <a:latin typeface="Bauhaus 93" panose="04030905020B02020C02" pitchFamily="82" charset="0"/>
              </a:rPr>
              <a:t>                              </a:t>
            </a:r>
            <a:endParaRPr lang="en-US" sz="4800" dirty="0">
              <a:latin typeface="Bauhaus 93" panose="04030905020B02020C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15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836712"/>
            <a:ext cx="9906000" cy="1800200"/>
          </a:xfrm>
        </p:spPr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A-TECHMAT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                              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nto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evangana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andal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Traine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hin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arendekar</a:t>
            </a:r>
            <a: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5501679"/>
              </p:ext>
            </p:extLst>
          </p:nvPr>
        </p:nvGraphicFramePr>
        <p:xfrm>
          <a:off x="136240" y="1772816"/>
          <a:ext cx="9633520" cy="36589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88290"/>
                <a:gridCol w="2296422"/>
                <a:gridCol w="2088232"/>
                <a:gridCol w="3160576"/>
              </a:tblGrid>
              <a:tr h="470538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Id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Name</a:t>
                      </a:r>
                      <a:r>
                        <a:rPr lang="en-US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ole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tribution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S.Sa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Akh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Le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ble Scripts, SQL</a:t>
                      </a:r>
                      <a:r>
                        <a:rPr lang="en-US" baseline="0" dirty="0" smtClean="0"/>
                        <a:t> loader</a:t>
                      </a:r>
                      <a:endParaRPr lang="en-US" dirty="0"/>
                    </a:p>
                  </a:txBody>
                  <a:tcPr/>
                </a:tc>
              </a:tr>
              <a:tr h="528474">
                <a:tc>
                  <a:txBody>
                    <a:bodyPr/>
                    <a:lstStyle/>
                    <a:p>
                      <a:r>
                        <a:rPr lang="en-US" dirty="0" smtClean="0"/>
                        <a:t>1290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.Abhishik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L/SQL</a:t>
                      </a:r>
                      <a:r>
                        <a:rPr lang="en-US" baseline="0" dirty="0" smtClean="0"/>
                        <a:t> Validations, Documentation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G.Sai</a:t>
                      </a:r>
                      <a:r>
                        <a:rPr lang="en-US" baseline="0" dirty="0" smtClean="0"/>
                        <a:t> Sarany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orms,</a:t>
                      </a:r>
                      <a:r>
                        <a:rPr lang="en-US" baseline="0" dirty="0" smtClean="0"/>
                        <a:t>  Valid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Narma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ster Form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yed</a:t>
                      </a:r>
                      <a:r>
                        <a:rPr lang="en-US" baseline="0" dirty="0" smtClean="0"/>
                        <a:t> Mansh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</a:t>
                      </a:r>
                      <a:r>
                        <a:rPr lang="en-US" baseline="0" smtClean="0"/>
                        <a:t>, Valid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.Pavan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, Oracle</a:t>
                      </a:r>
                      <a:r>
                        <a:rPr lang="en-US" baseline="0" dirty="0" smtClean="0"/>
                        <a:t> Application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74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2" y="487826"/>
            <a:ext cx="9906000" cy="470887"/>
          </a:xfrm>
        </p:spPr>
        <p:txBody>
          <a:bodyPr/>
          <a:lstStyle/>
          <a:p>
            <a:pPr algn="l"/>
            <a:r>
              <a:rPr lang="en-US" dirty="0" smtClean="0"/>
              <a:t>              cont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-15552" y="908720"/>
            <a:ext cx="203749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Introduct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1313921" y="1760558"/>
            <a:ext cx="2039060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Work Flow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448760" y="2564904"/>
            <a:ext cx="2072193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smtClean="0">
                <a:solidFill>
                  <a:schemeClr val="tx2">
                    <a:lumMod val="50000"/>
                  </a:schemeClr>
                </a:solidFill>
              </a:rPr>
              <a:t>Requirement  Analysis</a:t>
            </a:r>
            <a:endParaRPr lang="en-US" sz="1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88920" y="3284984"/>
            <a:ext cx="192817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QL Loader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323294" y="3933056"/>
            <a:ext cx="1933962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Forms,</a:t>
            </a:r>
          </a:p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ports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6952046" y="4697487"/>
            <a:ext cx="2016224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onclus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Bent-Up Arrow 31"/>
          <p:cNvSpPr/>
          <p:nvPr/>
        </p:nvSpPr>
        <p:spPr>
          <a:xfrm rot="5400000">
            <a:off x="802195" y="1634089"/>
            <a:ext cx="419790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Bent-Up Arrow 32"/>
          <p:cNvSpPr/>
          <p:nvPr/>
        </p:nvSpPr>
        <p:spPr>
          <a:xfrm rot="5400000">
            <a:off x="1921807" y="2470347"/>
            <a:ext cx="409023" cy="70393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Bent-Up Arrow 33"/>
          <p:cNvSpPr/>
          <p:nvPr/>
        </p:nvSpPr>
        <p:spPr>
          <a:xfrm rot="5400000">
            <a:off x="3345830" y="3317958"/>
            <a:ext cx="388935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Bent-Up Arrow 34"/>
          <p:cNvSpPr/>
          <p:nvPr/>
        </p:nvSpPr>
        <p:spPr>
          <a:xfrm rot="5400000">
            <a:off x="4828883" y="4043897"/>
            <a:ext cx="43156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Bent-Up Arrow 35"/>
          <p:cNvSpPr/>
          <p:nvPr/>
        </p:nvSpPr>
        <p:spPr>
          <a:xfrm rot="5400000">
            <a:off x="6351437" y="4683421"/>
            <a:ext cx="39431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Rectangle 2"/>
          <p:cNvSpPr/>
          <p:nvPr/>
        </p:nvSpPr>
        <p:spPr>
          <a:xfrm>
            <a:off x="8007112" y="6484214"/>
            <a:ext cx="1922315" cy="3546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6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33762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464" y="1772816"/>
            <a:ext cx="9906000" cy="4608512"/>
          </a:xfrm>
        </p:spPr>
        <p:txBody>
          <a:bodyPr/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dirty="0" smtClean="0"/>
              <a:t>aim of our project is to  develop  </a:t>
            </a:r>
            <a:r>
              <a:rPr lang="en-US" dirty="0"/>
              <a:t>a Book Management System for the Company ‘ABC Computers’.</a:t>
            </a:r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ctions to be performed with the syste</a:t>
            </a:r>
            <a:r>
              <a:rPr lang="en-US" dirty="0"/>
              <a:t>m</a:t>
            </a:r>
            <a:r>
              <a:rPr lang="en-US" dirty="0" smtClean="0"/>
              <a:t>:</a:t>
            </a:r>
            <a:endParaRPr lang="en-US" dirty="0"/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1.Search </a:t>
            </a:r>
            <a:r>
              <a:rPr lang="en-US" dirty="0"/>
              <a:t>for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2.Add </a:t>
            </a:r>
            <a:r>
              <a:rPr lang="en-US" dirty="0"/>
              <a:t>the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3.Add </a:t>
            </a:r>
            <a:r>
              <a:rPr lang="en-US" dirty="0"/>
              <a:t>the Author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4.Remove </a:t>
            </a:r>
            <a:r>
              <a:rPr lang="en-US" dirty="0"/>
              <a:t>the Book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977336" y="6381328"/>
            <a:ext cx="1872208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2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ow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13" y="2460797"/>
            <a:ext cx="9906000" cy="355282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equirement Analysis</a:t>
            </a:r>
          </a:p>
          <a:p>
            <a:pPr marL="0" indent="0">
              <a:buNone/>
            </a:pPr>
            <a:r>
              <a:rPr lang="en-US" dirty="0" smtClean="0"/>
              <a:t>                 Tables Creation</a:t>
            </a:r>
          </a:p>
          <a:p>
            <a:pPr marL="0" indent="0">
              <a:buNone/>
            </a:pPr>
            <a:r>
              <a:rPr lang="en-US" dirty="0" smtClean="0"/>
              <a:t>                                SQL Loader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Validation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Form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Report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             Oracle Applications</a:t>
            </a:r>
          </a:p>
        </p:txBody>
      </p:sp>
      <p:sp>
        <p:nvSpPr>
          <p:cNvPr id="7" name="Bent-Up Arrow 6"/>
          <p:cNvSpPr/>
          <p:nvPr/>
        </p:nvSpPr>
        <p:spPr>
          <a:xfrm rot="5400000">
            <a:off x="1220002" y="264833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Bent-Up Arrow 7"/>
          <p:cNvSpPr/>
          <p:nvPr/>
        </p:nvSpPr>
        <p:spPr>
          <a:xfrm rot="5400000">
            <a:off x="2421302" y="3080378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Bent-Up Arrow 8"/>
          <p:cNvSpPr/>
          <p:nvPr/>
        </p:nvSpPr>
        <p:spPr>
          <a:xfrm rot="5400000">
            <a:off x="3501422" y="3512425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Bent-Up Arrow 9"/>
          <p:cNvSpPr/>
          <p:nvPr/>
        </p:nvSpPr>
        <p:spPr>
          <a:xfrm rot="5400000">
            <a:off x="4532370" y="3944474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Bent-Up Arrow 10"/>
          <p:cNvSpPr/>
          <p:nvPr/>
        </p:nvSpPr>
        <p:spPr>
          <a:xfrm rot="5400000">
            <a:off x="5540482" y="4376522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dirty="0" smtClean="0"/>
              <a:t>0000000000000</a:t>
            </a:r>
            <a:endParaRPr lang="en-US" dirty="0"/>
          </a:p>
        </p:txBody>
      </p:sp>
      <p:sp>
        <p:nvSpPr>
          <p:cNvPr id="12" name="Bent-Up Arrow 11"/>
          <p:cNvSpPr/>
          <p:nvPr/>
        </p:nvSpPr>
        <p:spPr>
          <a:xfrm rot="5400000">
            <a:off x="6548594" y="480857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8049344" y="6453336"/>
            <a:ext cx="185665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9906000" cy="1382139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Requirement Analysis  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412776"/>
            <a:ext cx="9906000" cy="4968552"/>
          </a:xfrm>
        </p:spPr>
        <p:txBody>
          <a:bodyPr/>
          <a:lstStyle/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uthor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Book(Dummy)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</a:t>
            </a:r>
            <a:r>
              <a:rPr lang="en-US" dirty="0"/>
              <a:t>Loading Using </a:t>
            </a:r>
            <a:r>
              <a:rPr lang="en-US"/>
              <a:t>SQL </a:t>
            </a:r>
            <a:r>
              <a:rPr lang="en-US" smtClean="0"/>
              <a:t>Loader</a:t>
            </a:r>
            <a:endParaRPr lang="en-US" dirty="0" smtClean="0"/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PL/SQL (Validations)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Author Form </a:t>
            </a:r>
            <a:r>
              <a:rPr lang="en-US" dirty="0" smtClean="0"/>
              <a:t>Creation 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Book Maste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Report Gener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6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6768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0769"/>
            <a:ext cx="9906000" cy="4755234"/>
          </a:xfrm>
        </p:spPr>
        <p:txBody>
          <a:bodyPr/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black">
          <a:xfrm>
            <a:off x="304800" y="21266"/>
            <a:ext cx="82296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1" kern="1200" cap="sm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2pPr>
            <a:lvl3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3pPr>
            <a:lvl4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4pPr>
            <a:lvl5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5pPr>
            <a:lvl6pPr marL="11715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6pPr>
            <a:lvl7pPr marL="16287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7pPr>
            <a:lvl8pPr marL="20859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8pPr>
            <a:lvl9pPr marL="25431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r>
              <a:rPr lang="en-US" u="sng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Creation</a:t>
            </a:r>
            <a:endParaRPr lang="en-US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11560" y="4581128"/>
            <a:ext cx="1512168" cy="864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SE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11560" y="1844824"/>
            <a:ext cx="1512168" cy="94738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GING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Flowchart: Magnetic Disk 12">
            <a:hlinkClick r:id="rId3" action="ppaction://hlinkfile"/>
          </p:cNvPr>
          <p:cNvSpPr/>
          <p:nvPr/>
        </p:nvSpPr>
        <p:spPr>
          <a:xfrm>
            <a:off x="6732240" y="2740732"/>
            <a:ext cx="1152128" cy="1840396"/>
          </a:xfrm>
          <a:prstGeom prst="flowChartMagneticDisk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RR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ounded Rectangle 13">
            <a:hlinkClick r:id="rId4" action="ppaction://hlinkfile"/>
          </p:cNvPr>
          <p:cNvSpPr/>
          <p:nvPr/>
        </p:nvSpPr>
        <p:spPr>
          <a:xfrm>
            <a:off x="3131840" y="2492896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ounded Rectangle 14">
            <a:hlinkClick r:id="rId5" action="ppaction://hlinkfile"/>
          </p:cNvPr>
          <p:cNvSpPr/>
          <p:nvPr/>
        </p:nvSpPr>
        <p:spPr>
          <a:xfrm>
            <a:off x="3131840" y="1412776"/>
            <a:ext cx="1512168" cy="696459"/>
          </a:xfrm>
          <a:prstGeom prst="roundRect">
            <a:avLst/>
          </a:prstGeom>
          <a:solidFill>
            <a:schemeClr val="bg2">
              <a:lumMod val="6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ounded Rectangle 15">
            <a:hlinkClick r:id="rId6" action="ppaction://hlinkfile"/>
          </p:cNvPr>
          <p:cNvSpPr/>
          <p:nvPr/>
        </p:nvSpPr>
        <p:spPr>
          <a:xfrm>
            <a:off x="3203848" y="4005064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ounded Rectangle 16">
            <a:hlinkClick r:id="rId7" action="ppaction://hlinkfile"/>
          </p:cNvPr>
          <p:cNvSpPr/>
          <p:nvPr/>
        </p:nvSpPr>
        <p:spPr>
          <a:xfrm>
            <a:off x="3203848" y="5229200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Curved Down Arrow 17"/>
          <p:cNvSpPr/>
          <p:nvPr/>
        </p:nvSpPr>
        <p:spPr>
          <a:xfrm>
            <a:off x="4860032" y="1628800"/>
            <a:ext cx="2448272" cy="648072"/>
          </a:xfrm>
          <a:prstGeom prst="curvedDown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urved Left Arrow 18"/>
          <p:cNvSpPr/>
          <p:nvPr/>
        </p:nvSpPr>
        <p:spPr>
          <a:xfrm>
            <a:off x="5004048" y="2740732"/>
            <a:ext cx="648072" cy="2704492"/>
          </a:xfrm>
          <a:prstGeom prst="curvedLef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Bent Arrow 19"/>
          <p:cNvSpPr/>
          <p:nvPr/>
        </p:nvSpPr>
        <p:spPr>
          <a:xfrm>
            <a:off x="1259632" y="1480200"/>
            <a:ext cx="1764196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>
            <a:off x="1331640" y="4216504"/>
            <a:ext cx="1728192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Bent Arrow 21"/>
          <p:cNvSpPr/>
          <p:nvPr/>
        </p:nvSpPr>
        <p:spPr>
          <a:xfrm rot="10800000" flipH="1">
            <a:off x="1367644" y="2765023"/>
            <a:ext cx="1692188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Bent Arrow 22"/>
          <p:cNvSpPr/>
          <p:nvPr/>
        </p:nvSpPr>
        <p:spPr>
          <a:xfrm rot="10800000" flipH="1">
            <a:off x="1331639" y="5501326"/>
            <a:ext cx="1800201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717032"/>
            <a:ext cx="488733" cy="55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332" y="1772816"/>
            <a:ext cx="545699" cy="5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Straight Connector 25"/>
          <p:cNvCxnSpPr/>
          <p:nvPr/>
        </p:nvCxnSpPr>
        <p:spPr>
          <a:xfrm>
            <a:off x="3059832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31840" y="3861048"/>
            <a:ext cx="0" cy="223495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860032" y="3861048"/>
            <a:ext cx="0" cy="2232248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716016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3131840" y="6093296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3131840" y="3858345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059832" y="3356992"/>
            <a:ext cx="1656184" cy="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3023828" y="1194050"/>
            <a:ext cx="1692188" cy="2702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sp>
        <p:nvSpPr>
          <p:cNvPr id="4" name="Rectangle 3"/>
          <p:cNvSpPr/>
          <p:nvPr/>
        </p:nvSpPr>
        <p:spPr>
          <a:xfrm>
            <a:off x="7977336" y="6525344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6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714941"/>
          </a:xfrm>
        </p:spPr>
        <p:txBody>
          <a:bodyPr/>
          <a:lstStyle/>
          <a:p>
            <a:pPr algn="l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ql loader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Authors Stage</a:t>
            </a:r>
          </a:p>
          <a:p>
            <a:pPr marL="0" indent="0">
              <a:buNone/>
            </a:pPr>
            <a:r>
              <a:rPr lang="en-US" dirty="0" smtClean="0"/>
              <a:t>         </a:t>
            </a:r>
            <a:r>
              <a:rPr lang="en-US" sz="2000" dirty="0" smtClean="0"/>
              <a:t>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 2.Data Fil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Books Stage</a:t>
            </a:r>
          </a:p>
          <a:p>
            <a:pPr marL="0" indent="0">
              <a:buNone/>
            </a:pPr>
            <a:r>
              <a:rPr lang="en-US" sz="2000" dirty="0" smtClean="0"/>
              <a:t>         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2.Data File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dirty="0" smtClean="0"/>
          </a:p>
          <a:p>
            <a:pPr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736" y="1381125"/>
            <a:ext cx="6586314" cy="40957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049344" y="6525344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98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08720"/>
            <a:ext cx="9906000" cy="576064"/>
          </a:xfrm>
        </p:spPr>
        <p:txBody>
          <a:bodyPr/>
          <a:lstStyle/>
          <a:p>
            <a:pPr algn="l"/>
            <a:r>
              <a:rPr lang="en-US" dirty="0" smtClean="0"/>
              <a:t>                   vali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HOR TABLE</a:t>
            </a:r>
          </a:p>
          <a:p>
            <a:pPr lvl="1"/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im(spaces &amp; tabs)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nder</a:t>
            </a:r>
          </a:p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ABL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ook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BN cod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ze,Cost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848685"/>
            <a:ext cx="1080120" cy="8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80</TotalTime>
  <Words>565</Words>
  <Application>Microsoft Office PowerPoint</Application>
  <PresentationFormat>A4 Paper (210x297 mm)</PresentationFormat>
  <Paragraphs>162</Paragraphs>
  <Slides>15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Arial Narrow</vt:lpstr>
      <vt:lpstr>Bauhaus 93</vt:lpstr>
      <vt:lpstr>Calibri</vt:lpstr>
      <vt:lpstr>Courier New</vt:lpstr>
      <vt:lpstr>Times New Roman</vt:lpstr>
      <vt:lpstr>Wingdings</vt:lpstr>
      <vt:lpstr>Capgemini ppt template (External)</vt:lpstr>
      <vt:lpstr>Conception personnalisée</vt:lpstr>
      <vt:lpstr>Book Management System</vt:lpstr>
      <vt:lpstr>ORA-TECHMATES                                           Mentor - Devangana Mandal                                                    Trainer - Sachin Narendekar     </vt:lpstr>
      <vt:lpstr>              contents </vt:lpstr>
      <vt:lpstr>Introduction</vt:lpstr>
      <vt:lpstr>Work FLow</vt:lpstr>
      <vt:lpstr>        Requirement Analysis   </vt:lpstr>
      <vt:lpstr>PowerPoint Presentation</vt:lpstr>
      <vt:lpstr>Sql loader</vt:lpstr>
      <vt:lpstr>                   validations</vt:lpstr>
      <vt:lpstr>             forms</vt:lpstr>
      <vt:lpstr>   Oracle applications</vt:lpstr>
      <vt:lpstr>                    report</vt:lpstr>
      <vt:lpstr>Conclusion</vt:lpstr>
      <vt:lpstr>FUTURE SCOPE</vt:lpstr>
      <vt:lpstr>PowerPoint Presentation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anshad, Syed</cp:lastModifiedBy>
  <cp:revision>639</cp:revision>
  <cp:lastPrinted>2011-05-16T20:55:49Z</cp:lastPrinted>
  <dcterms:created xsi:type="dcterms:W3CDTF">2011-03-22T09:44:08Z</dcterms:created>
  <dcterms:modified xsi:type="dcterms:W3CDTF">2017-07-27T07:57:14Z</dcterms:modified>
</cp:coreProperties>
</file>